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pn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406" r:id="rId2"/>
    <p:sldId id="407" r:id="rId3"/>
    <p:sldId id="408" r:id="rId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706" autoAdjust="0"/>
    <p:restoredTop sz="81619" autoAdjust="0"/>
  </p:normalViewPr>
  <p:slideViewPr>
    <p:cSldViewPr snapToGrid="0">
      <p:cViewPr varScale="1">
        <p:scale>
          <a:sx n="82" d="100"/>
          <a:sy n="82" d="100"/>
        </p:scale>
        <p:origin x="5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24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642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rganizational notes: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Coffee break</a:t>
            </a:r>
            <a:r>
              <a:rPr lang="en-US" baseline="0" dirty="0" smtClean="0"/>
              <a:t> will be provided within AREA 42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Lunch break will be in our bistro right next to the area. Vouchers to get the lunch will be provided.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If ”normal” work interrupts you: you can use the other facilities of the area (lounge area with fat boys or other meeting room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29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24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24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24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qaware/cloudnative-bootcamp" TargetMode="External"/><Relationship Id="rId4" Type="http://schemas.openxmlformats.org/officeDocument/2006/relationships/image" Target="../media/image9.jp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61366" y="344169"/>
            <a:ext cx="6696225" cy="995362"/>
          </a:xfrm>
        </p:spPr>
        <p:txBody>
          <a:bodyPr/>
          <a:lstStyle/>
          <a:p>
            <a:r>
              <a:rPr lang="de-DE" dirty="0" smtClean="0"/>
              <a:t>GOAL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4861367" y="1753201"/>
            <a:ext cx="6696226" cy="4759325"/>
          </a:xfrm>
        </p:spPr>
        <p:txBody>
          <a:bodyPr/>
          <a:lstStyle/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wa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asic</a:t>
            </a:r>
            <a:r>
              <a:rPr lang="de-DE" dirty="0" smtClean="0"/>
              <a:t> </a:t>
            </a:r>
            <a:r>
              <a:rPr lang="de-DE" dirty="0" err="1" smtClean="0"/>
              <a:t>princip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Cloud Native Computing</a:t>
            </a:r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ocker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ev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 smtClean="0"/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C/OS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ev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 smtClean="0"/>
          </a:p>
          <a:p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basically</a:t>
            </a:r>
            <a:r>
              <a:rPr lang="de-DE" dirty="0" smtClean="0"/>
              <a:t> </a:t>
            </a:r>
            <a:r>
              <a:rPr lang="de-DE" dirty="0" err="1" smtClean="0"/>
              <a:t>know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DC/OS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guy</a:t>
            </a:r>
            <a:endParaRPr lang="de-DE" dirty="0"/>
          </a:p>
        </p:txBody>
      </p:sp>
      <p:pic>
        <p:nvPicPr>
          <p:cNvPr id="28674" name="Picture 2" descr="http://img.sparknotes.com/content/sparklife/sparktalk/studytipsfromfaye_LargeWid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38" r="13286"/>
          <a:stretch/>
        </p:blipFill>
        <p:spPr bwMode="auto">
          <a:xfrm>
            <a:off x="0" y="0"/>
            <a:ext cx="4710896" cy="667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65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3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4286148" y="7067627"/>
            <a:ext cx="5211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github.com/qaware/cloudnative-bootcamp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408484" y="1075458"/>
            <a:ext cx="115723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/>
              <a:t>https://</a:t>
            </a:r>
            <a:r>
              <a:rPr lang="de-DE" sz="3600" dirty="0" err="1"/>
              <a:t>github.com</a:t>
            </a:r>
            <a:r>
              <a:rPr lang="de-DE" sz="3600" dirty="0"/>
              <a:t>/</a:t>
            </a:r>
            <a:r>
              <a:rPr lang="de-DE" sz="3600" dirty="0" err="1"/>
              <a:t>qaware</a:t>
            </a:r>
            <a:r>
              <a:rPr lang="de-DE" sz="3600" dirty="0"/>
              <a:t>/</a:t>
            </a:r>
            <a:r>
              <a:rPr lang="de-DE" sz="3600" dirty="0" err="1"/>
              <a:t>hitchhikers-guide-cloudnative</a:t>
            </a:r>
            <a:endParaRPr lang="de-DE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148" y="2583515"/>
            <a:ext cx="3098037" cy="309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6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</TotalTime>
  <Words>115</Words>
  <Application>Microsoft Macintosh PowerPoint</Application>
  <PresentationFormat>Widescreen</PresentationFormat>
  <Paragraphs>16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 Narrow</vt:lpstr>
      <vt:lpstr>Calibri</vt:lpstr>
      <vt:lpstr>Lucida Grande</vt:lpstr>
      <vt:lpstr>Arial</vt:lpstr>
      <vt:lpstr>qaware-folienmaster-1.01</vt:lpstr>
      <vt:lpstr>think-cell Folie</vt:lpstr>
      <vt:lpstr>PowerPoint Presentation</vt:lpstr>
      <vt:lpstr>GOALS</vt:lpstr>
      <vt:lpstr>PowerPoint Presentation</vt:lpstr>
    </vt:vector>
  </TitlesOfParts>
  <Company>QAware GmbH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455</cp:revision>
  <dcterms:created xsi:type="dcterms:W3CDTF">2014-10-08T07:51:16Z</dcterms:created>
  <dcterms:modified xsi:type="dcterms:W3CDTF">2016-10-24T18:08:23Z</dcterms:modified>
</cp:coreProperties>
</file>